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2157" autoAdjust="0"/>
  </p:normalViewPr>
  <p:slideViewPr>
    <p:cSldViewPr snapToGrid="0">
      <p:cViewPr varScale="1">
        <p:scale>
          <a:sx n="102" d="100"/>
          <a:sy n="102" d="100"/>
        </p:scale>
        <p:origin x="876" y="102"/>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6E5FDE91-B65F-4D89-86E3-E3530D77F49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396769BA-CA1F-4FD2-A52E-F402FB7F18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93551223-2C9E-4848-AC95-6B7F2A5DEBF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8000000000000003</c:v>
                </c:pt>
                <c:pt idx="1">
                  <c:v>0.31</c:v>
                </c:pt>
                <c:pt idx="2">
                  <c:v>0.32</c:v>
                </c:pt>
                <c:pt idx="3">
                  <c:v>0.09</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8%</c:v>
                  </c:pt>
                  <c:pt idx="1">
                    <c:v>31%</c:v>
                  </c:pt>
                  <c:pt idx="2">
                    <c:v>32%</c:v>
                  </c:pt>
                  <c:pt idx="3">
                    <c:v>9%</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B77E5858-0A11-4584-A52B-0149C64724C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35A251BA-1F0F-4111-B5C2-6F1F5805AFE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5AB15DC6-BB47-48DB-9A5B-2B7DEBD9341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3</c:v>
                </c:pt>
                <c:pt idx="2">
                  <c:v>0.53</c:v>
                </c:pt>
                <c:pt idx="3">
                  <c:v>0.3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c:v>
                  </c:pt>
                  <c:pt idx="1">
                    <c:v>13%</c:v>
                  </c:pt>
                  <c:pt idx="2">
                    <c:v>53%</c:v>
                  </c:pt>
                  <c:pt idx="3">
                    <c:v>34%</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69</c:v>
                </c:pt>
                <c:pt idx="1">
                  <c:v>0.85</c:v>
                </c:pt>
                <c:pt idx="2">
                  <c:v>0.89</c:v>
                </c:pt>
                <c:pt idx="3">
                  <c:v>0.8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618B5DF4-6EE8-41FA-98E5-5450F931462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3AA23B08-4032-42D5-A1FD-BC67A303D77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EB26A5E4-0368-4820-B6EC-162C29B049B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31</c:v>
                </c:pt>
                <c:pt idx="1">
                  <c:v>0.15</c:v>
                </c:pt>
                <c:pt idx="2">
                  <c:v>0.11</c:v>
                </c:pt>
                <c:pt idx="3">
                  <c:v>0.1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69%</c:v>
                  </c:pt>
                  <c:pt idx="1">
                    <c:v>85%</c:v>
                  </c:pt>
                  <c:pt idx="2">
                    <c:v>89%</c:v>
                  </c:pt>
                  <c:pt idx="3">
                    <c:v>88%</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2</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8FD8980D-1073-4F28-88C8-EB4F81B9426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E296C942-F953-4BB1-A818-C9A99C372B5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4F384122-8C14-4229-912C-819C8F37DF3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88F4F5A8-ACC3-4195-B41F-9061B86CC1E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8</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2%</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1</c:v>
                </c:pt>
                <c:pt idx="1">
                  <c:v>0.84</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6D9F11A1-BD42-45F7-A3B0-5F21686DBAE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F140A01B-BD42-4329-B318-4080D989DCE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44463AA7-00E7-4047-9354-A6BD78B1C82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C7697C40-D9FE-41B8-A395-7ED8EB73BEA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9</c:v>
                </c:pt>
                <c:pt idx="1">
                  <c:v>0.16</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1%</c:v>
                  </c:pt>
                  <c:pt idx="1">
                    <c:v>84%</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2</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E57B7678-5F48-4F0F-AA9C-F1F23D1DBC9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C192D727-59F1-4CDF-A8E0-BAE73D0352B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8</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2%</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90%</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2</c:v>
                </c:pt>
                <c:pt idx="1">
                  <c:v>0.96</c:v>
                </c:pt>
                <c:pt idx="2">
                  <c:v>0.9</c:v>
                </c:pt>
                <c:pt idx="3">
                  <c:v>0.89</c:v>
                </c:pt>
                <c:pt idx="4">
                  <c:v>0.9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A05B1BC3-C3FD-4472-B640-A4CC0654D5A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F1E23D50-555C-4202-A39A-A5F085BB1C0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C5A1098D-5402-4A89-BA69-75E6C84238A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20D1532F-1ABD-4B61-A667-89CB59C034B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8</c:v>
                </c:pt>
                <c:pt idx="1">
                  <c:v>0.04</c:v>
                </c:pt>
                <c:pt idx="2">
                  <c:v>0.1</c:v>
                </c:pt>
                <c:pt idx="3">
                  <c:v>0.11</c:v>
                </c:pt>
                <c:pt idx="4">
                  <c:v>0.0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2%</c:v>
                  </c:pt>
                  <c:pt idx="1">
                    <c:v>96%</c:v>
                  </c:pt>
                  <c:pt idx="2">
                    <c:v>90%</c:v>
                  </c:pt>
                  <c:pt idx="3">
                    <c:v>89%</c:v>
                  </c:pt>
                  <c:pt idx="4">
                    <c:v>92%</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94</c:v>
                </c:pt>
                <c:pt idx="2">
                  <c:v>0.88</c:v>
                </c:pt>
                <c:pt idx="3">
                  <c:v>0.9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217F2289-32BD-4BB3-B172-99BC502CCA6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1BBF2DE5-65C7-441E-88D0-1762FDB31EC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279151EF-D3DD-4848-BC54-82E3B65ADE9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06</c:v>
                </c:pt>
                <c:pt idx="2">
                  <c:v>0.12</c:v>
                </c:pt>
                <c:pt idx="3">
                  <c:v>0.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94%</c:v>
                  </c:pt>
                  <c:pt idx="2">
                    <c:v>88%</c:v>
                  </c:pt>
                  <c:pt idx="3">
                    <c:v>91%</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9</c:v>
                </c:pt>
                <c:pt idx="1">
                  <c:v>0</c:v>
                </c:pt>
                <c:pt idx="2">
                  <c:v>0.94</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FE1484F3-A4D0-457D-B39A-047A614D59F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C035C5C9-C0F4-4404-8272-C3990B13ECA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3463F786-FBE4-4C35-BF42-422BFC8AAE3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C5BA7692-A3A0-441D-A6D9-7C58988B7D8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1</c:v>
                </c:pt>
                <c:pt idx="1">
                  <c:v>0</c:v>
                </c:pt>
                <c:pt idx="2">
                  <c:v>0.06</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9%</c:v>
                  </c:pt>
                  <c:pt idx="1">
                    <c:v>-</c:v>
                  </c:pt>
                  <c:pt idx="2">
                    <c:v>94%</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7</c:v>
                </c:pt>
                <c:pt idx="1">
                  <c:v>0.92</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E36D29FA-E9D7-4536-9A94-45D447EDCA1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D368231A-0043-4B8B-ABCE-5B169571197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9CD750C0-3591-460B-B69F-DE769AB28A0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5A0AC6CC-EC0E-4307-8EEA-C9E370D1721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3</c:v>
                </c:pt>
                <c:pt idx="1">
                  <c:v>0.08</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7%</c:v>
                  </c:pt>
                  <c:pt idx="1">
                    <c:v>92%</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9</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DF113CB1-21B5-4619-9D13-DAE394E0151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5EF16110-4F18-4785-BDE8-933A5B544EF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90%</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3</c:v>
                </c:pt>
                <c:pt idx="1">
                  <c:v>91</c:v>
                </c:pt>
                <c:pt idx="2">
                  <c:v>2</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0</c:v>
                </c:pt>
                <c:pt idx="1">
                  <c:v>8</c:v>
                </c:pt>
                <c:pt idx="2">
                  <c:v>1</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48544EE5-8299-4D8A-AE31-0862D232EA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98FC9266-8152-4271-89DB-BF3271B9074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1CAF5612-4C56-43FE-B03E-19BAEE83655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092259FB-5182-44F6-9A59-73FCB6DB5FD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01A00F10-732D-4960-8FB3-6955708CEE6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D1D9C62E-789B-4FA0-8DC6-F7C88FCC1DC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4</c:v>
                </c:pt>
                <c:pt idx="1">
                  <c:v>4</c:v>
                </c:pt>
                <c:pt idx="2">
                  <c:v>2</c:v>
                </c:pt>
                <c:pt idx="3">
                  <c:v>3</c:v>
                </c:pt>
                <c:pt idx="4">
                  <c:v>2</c:v>
                </c:pt>
                <c:pt idx="5">
                  <c:v>3</c:v>
                </c:pt>
                <c:pt idx="6">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4%</c:v>
                  </c:pt>
                  <c:pt idx="1">
                    <c:v>4%</c:v>
                  </c:pt>
                  <c:pt idx="2">
                    <c:v>2%</c:v>
                  </c:pt>
                  <c:pt idx="3">
                    <c:v>3%</c:v>
                  </c:pt>
                  <c:pt idx="4">
                    <c:v>2%</c:v>
                  </c:pt>
                  <c:pt idx="5">
                    <c:v>3%</c:v>
                  </c:pt>
                  <c:pt idx="6">
                    <c:v>37%</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F2739BDF-4EA1-40AC-85C9-2072BB9AEC4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D8FBC54F-346F-41EA-8E06-C9E98D781AB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A54DA3B3-C3D4-4578-B1BC-298B3D107D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A6FB4980-D9ED-4358-AB54-34A4A7A3E49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D04CD92F-3FC7-4C00-A8C6-D800E5B212E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62449AC2-95B7-4D21-BF06-2D888823A1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9</c:v>
                </c:pt>
                <c:pt idx="1">
                  <c:v>6</c:v>
                </c:pt>
                <c:pt idx="2">
                  <c:v>3</c:v>
                </c:pt>
                <c:pt idx="3">
                  <c:v>3</c:v>
                </c:pt>
                <c:pt idx="4">
                  <c:v>16</c:v>
                </c:pt>
                <c:pt idx="5">
                  <c:v>4</c:v>
                </c:pt>
                <c:pt idx="6">
                  <c:v>3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49%</c:v>
                  </c:pt>
                  <c:pt idx="1">
                    <c:v>6%</c:v>
                  </c:pt>
                  <c:pt idx="2">
                    <c:v>3%</c:v>
                  </c:pt>
                  <c:pt idx="3">
                    <c:v>3%</c:v>
                  </c:pt>
                  <c:pt idx="4">
                    <c:v>16%</c:v>
                  </c:pt>
                  <c:pt idx="5">
                    <c:v>4%</c:v>
                  </c:pt>
                  <c:pt idx="6">
                    <c:v>36%</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8EF41F03-936F-47DB-BD81-158EC44DB4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676380B8-FE16-403F-899B-36E6CBD1168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C4CAD5CF-67F1-4A8C-91AD-544AFC526D4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A99C92C7-FF63-4D6B-BA63-685B5336EF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3436E1B0-417F-45F1-806A-78D9262BC92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D49909E8-096E-487B-A11E-6922ADA053A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7</c:v>
                </c:pt>
                <c:pt idx="1">
                  <c:v>8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7%</c:v>
                  </c:pt>
                  <c:pt idx="1">
                    <c:v>83%</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396D51E5-A7D0-4D3F-8AD7-57694492829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0976BB39-CB6A-4B3C-A543-9E56F3C503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7D39D6FF-FF96-43C7-8551-7E382556E5A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618EEC7E-35EB-467B-8EFE-CDC2C5583F2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c:v>
                </c:pt>
                <c:pt idx="1">
                  <c:v>0.49</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0%</c:v>
                  </c:pt>
                  <c:pt idx="1">
                    <c:v>49%</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3F54F283-90B0-4AB6-A60C-17FB7951069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E9FECE73-B730-4E4C-840B-A944C6609B7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52AF7306-C6A8-4B74-8CED-1228C71A6D5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B02058EF-B054-4A14-9E2B-04D7F614CB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000000000000005</c:v>
                </c:pt>
                <c:pt idx="1">
                  <c:v>0.43</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6%</c:v>
                  </c:pt>
                  <c:pt idx="1">
                    <c:v>43%</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2F9E6951-CA7E-43F1-9891-40AB7914B7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0E50A28D-AE25-408B-99C5-BEC9EB4EED1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F58A04B6-0176-4489-B9B2-D1EE12A8960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6%</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83E6-406A-BD18-9D1352DD1788}"/>
                </c:ext>
              </c:extLst>
            </c:dLbl>
            <c:dLbl>
              <c:idx val="1"/>
              <c:tx>
                <c:rich>
                  <a:bodyPr/>
                  <a:lstStyle/>
                  <a:p>
                    <a:r>
                      <a:rPr lang="en-GB"/>
                      <a:t>9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c:v>
                </c:pt>
                <c:pt idx="1">
                  <c:v>9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p</c:v>
                  </c:pt>
                  <c:pt idx="1">
                    <c:v>94%q</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E5A544A3-EBBB-407F-8EA9-D372EDC78E2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F3A42C2F-D04B-4AE2-974F-231A84F1C25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c:v>
                </c:pt>
                <c:pt idx="1">
                  <c:v>9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c:v>
                  </c:pt>
                  <c:pt idx="1">
                    <c:v>94%</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D1B8B1A0-D737-4315-A6B1-4599077DD1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2A60D4DC-8161-4CBA-9B21-5BDE6B5561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1E517B66-69B7-4DBF-B719-633D046AB8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fld id="{44A0645E-ECFD-41EF-B1D8-D408FF5705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AD25AAD1-5946-4661-A745-1F374FBC12E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A77CD635-80D3-4EA6-8C91-AB0E42BB7BC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04F922D0-3C50-4919-951F-007AFF56B8C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1</c:v>
                </c:pt>
                <c:pt idx="1">
                  <c:v>94</c:v>
                </c:pt>
                <c:pt idx="2">
                  <c:v>84</c:v>
                </c:pt>
                <c:pt idx="3">
                  <c:v>72</c:v>
                </c:pt>
                <c:pt idx="4">
                  <c:v>94</c:v>
                </c:pt>
                <c:pt idx="5">
                  <c:v>33</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1%</c:v>
                  </c:pt>
                  <c:pt idx="1">
                    <c:v>94%</c:v>
                  </c:pt>
                  <c:pt idx="2">
                    <c:v>84%</c:v>
                  </c:pt>
                  <c:pt idx="3">
                    <c:v>72%</c:v>
                  </c:pt>
                  <c:pt idx="4">
                    <c:v>94%</c:v>
                  </c:pt>
                  <c:pt idx="5">
                    <c:v>33%</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GB"/>
                      <a:t>8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3E36-4621-A2A8-3ADDA83CA04C}"/>
                </c:ext>
              </c:extLst>
            </c:dLbl>
            <c:dLbl>
              <c:idx val="1"/>
              <c:tx>
                <c:rich>
                  <a:bodyPr/>
                  <a:lstStyle/>
                  <a:p>
                    <a:r>
                      <a:rPr lang="en-GB"/>
                      <a:t>93%</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3E36-4621-A2A8-3ADDA83CA04C}"/>
                </c:ext>
              </c:extLst>
            </c:dLbl>
            <c:dLbl>
              <c:idx val="2"/>
              <c:tx>
                <c:rich>
                  <a:bodyPr/>
                  <a:lstStyle/>
                  <a:p>
                    <a:fld id="{D49408C6-B5A5-4651-B5CC-509B19045A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fld id="{211C866F-C3E5-42CB-A6F9-262E3E4029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BAE13B6C-8126-47A5-846B-A1612F12DA1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F81DE97B-3215-4975-92DC-E21DED160E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91DFB005-AEF2-4013-8978-48F545FE8D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7</c:v>
                </c:pt>
                <c:pt idx="1">
                  <c:v>93</c:v>
                </c:pt>
                <c:pt idx="2">
                  <c:v>75</c:v>
                </c:pt>
                <c:pt idx="3">
                  <c:v>67</c:v>
                </c:pt>
                <c:pt idx="4">
                  <c:v>89</c:v>
                </c:pt>
                <c:pt idx="5">
                  <c:v>44</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7%p</c:v>
                  </c:pt>
                  <c:pt idx="1">
                    <c:v>93%p</c:v>
                  </c:pt>
                  <c:pt idx="2">
                    <c:v>75%</c:v>
                  </c:pt>
                  <c:pt idx="3">
                    <c:v>67%</c:v>
                  </c:pt>
                  <c:pt idx="4">
                    <c:v>89%</c:v>
                  </c:pt>
                  <c:pt idx="5">
                    <c:v>44%</c:v>
                  </c:pt>
                  <c:pt idx="6">
                    <c:v>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7</c:v>
                </c:pt>
                <c:pt idx="1">
                  <c:v>29</c:v>
                </c:pt>
                <c:pt idx="2">
                  <c:v>9</c:v>
                </c:pt>
                <c:pt idx="3">
                  <c:v>3</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6</c:v>
                </c:pt>
                <c:pt idx="1">
                  <c:v>29</c:v>
                </c:pt>
                <c:pt idx="2">
                  <c:v>17</c:v>
                </c:pt>
                <c:pt idx="3">
                  <c:v>5</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6CC3DDA5-609D-4935-9F9B-1DF503E6480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9A37D75E-7FCD-4400-B114-D7E81647F4B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927891F4-AD2D-4816-9588-132512A66B1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4865AB17-B679-4D5B-BA44-5A7CF6D378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c:v>
                </c:pt>
                <c:pt idx="1">
                  <c:v>25</c:v>
                </c:pt>
                <c:pt idx="2">
                  <c:v>7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8</c:v>
                </c:pt>
                <c:pt idx="1">
                  <c:v>44</c:v>
                </c:pt>
                <c:pt idx="2">
                  <c:v>4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16</c:v>
                </c:pt>
                <c:pt idx="2">
                  <c:v>30</c:v>
                </c:pt>
                <c:pt idx="3">
                  <c:v>19</c:v>
                </c:pt>
                <c:pt idx="4">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9</c:v>
                </c:pt>
                <c:pt idx="1">
                  <c:v>24</c:v>
                </c:pt>
                <c:pt idx="2">
                  <c:v>16</c:v>
                </c:pt>
                <c:pt idx="3">
                  <c:v>19</c:v>
                </c:pt>
                <c:pt idx="4">
                  <c:v>2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8</c:v>
                </c:pt>
                <c:pt idx="1">
                  <c:v>0.188</c:v>
                </c:pt>
                <c:pt idx="2">
                  <c:v>0.17</c:v>
                </c:pt>
                <c:pt idx="3">
                  <c:v>0.20699999999999999</c:v>
                </c:pt>
                <c:pt idx="4">
                  <c:v>0.254</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20699999999999999</c:v>
                </c:pt>
                <c:pt idx="1">
                  <c:v>0.16300000000000001</c:v>
                </c:pt>
                <c:pt idx="2">
                  <c:v>0.191</c:v>
                </c:pt>
                <c:pt idx="3">
                  <c:v>0.218</c:v>
                </c:pt>
                <c:pt idx="4">
                  <c:v>0.22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12</c:v>
                </c:pt>
                <c:pt idx="2">
                  <c:v>28</c:v>
                </c:pt>
                <c:pt idx="3">
                  <c:v>21</c:v>
                </c:pt>
                <c:pt idx="4">
                  <c:v>3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17</c:v>
                </c:pt>
                <c:pt idx="2">
                  <c:v>18</c:v>
                </c:pt>
                <c:pt idx="3">
                  <c:v>22</c:v>
                </c:pt>
                <c:pt idx="4">
                  <c:v>3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7</c:v>
                </c:pt>
                <c:pt idx="2">
                  <c:v>29</c:v>
                </c:pt>
                <c:pt idx="3">
                  <c:v>22</c:v>
                </c:pt>
                <c:pt idx="4">
                  <c:v>1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9</c:v>
                </c:pt>
                <c:pt idx="1">
                  <c:v>30</c:v>
                </c:pt>
                <c:pt idx="2">
                  <c:v>20</c:v>
                </c:pt>
                <c:pt idx="3">
                  <c:v>11</c:v>
                </c:pt>
                <c:pt idx="4">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A1F1CF57-8838-458C-B22A-1C17A50FA8B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53E2E132-E23B-4242-BD9C-6954D5FDC1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9FF8A4CD-0AEE-447A-B382-E11EC899DEE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E6BC32B3-2F29-4040-ADB1-FB2E32B643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7</c:v>
                </c:pt>
                <c:pt idx="1">
                  <c:v>0</c:v>
                </c:pt>
                <c:pt idx="2">
                  <c:v>0.02</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97%</c:v>
                  </c:pt>
                  <c:pt idx="1">
                    <c:v>-</c:v>
                  </c:pt>
                  <c:pt idx="2">
                    <c:v>2%</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DEAD5DAC-5F08-4357-A7C0-0BB430908D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0CD61201-DACE-4839-932D-74C181815D8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3686017A-CD15-490F-BCE0-DC08E7625B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7E849E90-4BC7-4EBB-B8CE-D08D0F59BC7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95</c:v>
                </c:pt>
                <c:pt idx="1">
                  <c:v>0</c:v>
                </c:pt>
                <c:pt idx="2">
                  <c:v>0.03</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95%</c:v>
                  </c:pt>
                  <c:pt idx="1">
                    <c:v>-</c:v>
                  </c:pt>
                  <c:pt idx="2">
                    <c:v>3%</c:v>
                  </c:pt>
                  <c:pt idx="3">
                    <c:v>-</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10</c:v>
                </c:pt>
                <c:pt idx="2">
                  <c:v>27</c:v>
                </c:pt>
                <c:pt idx="3">
                  <c:v>20</c:v>
                </c:pt>
                <c:pt idx="4">
                  <c:v>3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4</c:v>
                </c:pt>
                <c:pt idx="1">
                  <c:v>14</c:v>
                </c:pt>
                <c:pt idx="2">
                  <c:v>25</c:v>
                </c:pt>
                <c:pt idx="3">
                  <c:v>17</c:v>
                </c:pt>
                <c:pt idx="4">
                  <c:v>3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8</c:v>
                </c:pt>
                <c:pt idx="1">
                  <c:v>24</c:v>
                </c:pt>
                <c:pt idx="2">
                  <c:v>44</c:v>
                </c:pt>
                <c:pt idx="3">
                  <c:v>2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2</c:v>
                </c:pt>
                <c:pt idx="1">
                  <c:v>34</c:v>
                </c:pt>
                <c:pt idx="2">
                  <c:v>34</c:v>
                </c:pt>
                <c:pt idx="3">
                  <c:v>1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6</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4</c:v>
                </c:pt>
                <c:pt idx="1">
                  <c:v>37</c:v>
                </c:pt>
                <c:pt idx="2">
                  <c:v>12</c:v>
                </c:pt>
                <c:pt idx="3">
                  <c:v>3</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9</c:v>
                </c:pt>
                <c:pt idx="1">
                  <c:v>22</c:v>
                </c:pt>
                <c:pt idx="2">
                  <c:v>5</c:v>
                </c:pt>
                <c:pt idx="3">
                  <c:v>4</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5</c:v>
                </c:pt>
                <c:pt idx="1">
                  <c:v>52</c:v>
                </c:pt>
                <c:pt idx="2">
                  <c:v>9</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7</c:v>
                </c:pt>
                <c:pt idx="1">
                  <c:v>48</c:v>
                </c:pt>
                <c:pt idx="2">
                  <c:v>12</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27E443C9-D0D6-4979-A8B3-0C4B5ABC155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F51C0924-5E6A-41CD-B261-6FB463D910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DCFE0C39-4AB0-4C30-8F8B-96C8BE3187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7AF3B016-969D-46B2-A316-895897B95B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ABDAEEA3-0633-4388-9478-812ED04792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CFB6-49AC-A845-714BC7862DE1}"/>
                </c:ext>
              </c:extLst>
            </c:dLbl>
            <c:dLbl>
              <c:idx val="1"/>
              <c:tx>
                <c:rich>
                  <a:bodyPr/>
                  <a:lstStyle/>
                  <a:p>
                    <a:r>
                      <a:rPr lang="en-GB"/>
                      <a:t>2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1</c:v>
                </c:pt>
                <c:pt idx="1">
                  <c:v>2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1%p</c:v>
                  </c:pt>
                  <c:pt idx="1">
                    <c:v>29%q</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643AC596-67A4-4E3A-B324-5BC4972ADDF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BDA3DFF4-33D4-484F-99B9-A5854077B6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B666764C-E0C2-4CB5-84C0-261827465A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7BA0C655-EC4E-48CA-8B1B-988FB8A5441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0</c:v>
                </c:pt>
                <c:pt idx="1">
                  <c:v>6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0%</c:v>
                  </c:pt>
                  <c:pt idx="1">
                    <c:v>60%</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5069D3F6-7C0D-4E21-AF2D-55B6919D3C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993BD4ED-F7D6-4D46-8C26-0EE1EF48B33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7</c:v>
                </c:pt>
                <c:pt idx="1">
                  <c:v>5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7%</c:v>
                  </c:pt>
                  <c:pt idx="1">
                    <c:v>53%</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13723AA9-BED7-4BB4-BC6B-EF7D892464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AC4F840C-C1B1-4D96-9F00-DCC6DA4A53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0</c:v>
                </c:pt>
                <c:pt idx="1">
                  <c:v>5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0%</c:v>
                  </c:pt>
                  <c:pt idx="1">
                    <c:v>50%</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42B5E7CD-2B2A-4244-90CF-693C8846BF0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8A08C8BE-8C2B-4221-A7B6-5EF1884CE4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4</c:v>
                </c:pt>
                <c:pt idx="1">
                  <c:v>6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4%</c:v>
                  </c:pt>
                  <c:pt idx="1">
                    <c:v>66%</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5B58FEC3-60F9-424F-ADE7-32753B00A6D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87%</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4F3E-4C45-9DAC-B2929C4B2C23}"/>
                </c:ext>
              </c:extLst>
            </c:dLbl>
            <c:dLbl>
              <c:idx val="1"/>
              <c:tx>
                <c:rich>
                  <a:bodyPr/>
                  <a:lstStyle/>
                  <a:p>
                    <a:r>
                      <a:rPr lang="en-GB"/>
                      <a:t>1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7</c:v>
                </c:pt>
                <c:pt idx="1">
                  <c:v>1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7%p</c:v>
                  </c:pt>
                  <c:pt idx="1">
                    <c:v>13%q</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470543E6-6BEF-4D63-A5D2-464222EFCA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2%</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1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p</c:v>
                  </c:pt>
                  <c:pt idx="1">
                    <c:v>18%q</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42C1E11A-D86E-406F-8A5C-FA40F6779E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0%</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F532-49D4-9643-2B7F1FC6412B}"/>
                </c:ext>
              </c:extLst>
            </c:dLbl>
            <c:dLbl>
              <c:idx val="1"/>
              <c:tx>
                <c:rich>
                  <a:bodyPr/>
                  <a:lstStyle/>
                  <a:p>
                    <a:r>
                      <a:rPr lang="en-GB"/>
                      <a:t>30%</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0</c:v>
                </c:pt>
                <c:pt idx="1">
                  <c:v>3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0%p</c:v>
                  </c:pt>
                  <c:pt idx="1">
                    <c:v>30%q</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569F6DED-766A-49B2-ABED-5CF7DA583CC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7D423E03-A46F-4E2B-BA85-03C760FAB65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3</c:v>
                </c:pt>
                <c:pt idx="1">
                  <c:v>4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3%</c:v>
                  </c:pt>
                  <c:pt idx="1">
                    <c:v>47%</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6E597C81-9C42-48CE-A958-48B571C291A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7B881AFE-47B9-4B78-BCAF-F5B1951EA1A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EA4CBAFE-2A25-42BB-9E3E-2180F47B84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D2E44656-4F16-45A9-BC9A-609406E456A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51</c:v>
                </c:pt>
                <c:pt idx="1">
                  <c:v>35</c:v>
                </c:pt>
                <c:pt idx="2">
                  <c:v>1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37</c:v>
                </c:pt>
                <c:pt idx="1">
                  <c:v>51</c:v>
                </c:pt>
                <c:pt idx="2">
                  <c:v>1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C1A64915-3F77-44FE-B53C-222E2813EF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D40CC4F3-987C-473A-B306-CDC5357D52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1627B3CF-A3DA-47F2-A35B-04F36763726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17C26FF8-B4DF-4AF0-B4EF-B3130EBAE13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CA38C33B-8B6D-427B-96D9-1F0F07855B3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823C23D0-E275-4BC3-92C4-E0D6B219A55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3</c:v>
                </c:pt>
                <c:pt idx="1">
                  <c:v>5</c:v>
                </c:pt>
                <c:pt idx="2">
                  <c:v>63</c:v>
                </c:pt>
                <c:pt idx="3">
                  <c:v>36</c:v>
                </c:pt>
                <c:pt idx="4">
                  <c:v>16</c:v>
                </c:pt>
                <c:pt idx="5">
                  <c:v>20</c:v>
                </c:pt>
                <c:pt idx="6">
                  <c:v>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3%</c:v>
                  </c:pt>
                  <c:pt idx="1">
                    <c:v>5%</c:v>
                  </c:pt>
                  <c:pt idx="2">
                    <c:v>63%</c:v>
                  </c:pt>
                  <c:pt idx="3">
                    <c:v>36%</c:v>
                  </c:pt>
                  <c:pt idx="4">
                    <c:v>16%</c:v>
                  </c:pt>
                  <c:pt idx="5">
                    <c:v>20%</c:v>
                  </c:pt>
                  <c:pt idx="6">
                    <c:v>7%</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54D736B6-EDDE-420A-A539-574C9543A0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40376984-06F3-4FEF-8DC4-B52A04A7CB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8371A894-8332-410F-8907-6912AD7559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111D477E-2B97-4D84-AB67-122DC5E3E0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9AD929D3-AEA4-4E4E-A7BF-B975547A76D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98F31B40-43D7-417A-B0A3-96F6875023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31</c:v>
                </c:pt>
                <c:pt idx="1">
                  <c:v>19</c:v>
                </c:pt>
                <c:pt idx="2">
                  <c:v>30</c:v>
                </c:pt>
                <c:pt idx="3">
                  <c:v>47</c:v>
                </c:pt>
                <c:pt idx="4">
                  <c:v>6</c:v>
                </c:pt>
                <c:pt idx="5">
                  <c:v>13</c:v>
                </c:pt>
                <c:pt idx="6">
                  <c:v>1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31%</c:v>
                  </c:pt>
                  <c:pt idx="1">
                    <c:v>19%</c:v>
                  </c:pt>
                  <c:pt idx="2">
                    <c:v>30%</c:v>
                  </c:pt>
                  <c:pt idx="3">
                    <c:v>47%</c:v>
                  </c:pt>
                  <c:pt idx="4">
                    <c:v>6%</c:v>
                  </c:pt>
                  <c:pt idx="5">
                    <c:v>13%</c:v>
                  </c:pt>
                  <c:pt idx="6">
                    <c:v>10%</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5</c:v>
                </c:pt>
                <c:pt idx="1">
                  <c:v>36</c:v>
                </c:pt>
                <c:pt idx="2">
                  <c:v>7</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60</c:v>
                </c:pt>
                <c:pt idx="1">
                  <c:v>37</c:v>
                </c:pt>
                <c:pt idx="2">
                  <c:v>3</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2%</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78</c:v>
                </c:pt>
                <c:pt idx="1">
                  <c:v>0.91</c:v>
                </c:pt>
                <c:pt idx="2">
                  <c:v>0.86</c:v>
                </c:pt>
                <c:pt idx="3">
                  <c:v>0.76</c:v>
                </c:pt>
                <c:pt idx="4">
                  <c:v>0.8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66B1E7D9-DD64-4735-B2C4-C80544BA41B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31E26B2C-2948-437C-9225-244CB694D6B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81A856FC-DAAA-4022-8817-9B41F0A974C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245E26CE-CA78-4A47-A1A2-917D75C59FA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2</c:v>
                </c:pt>
                <c:pt idx="1">
                  <c:v>0.09</c:v>
                </c:pt>
                <c:pt idx="2">
                  <c:v>0.14000000000000001</c:v>
                </c:pt>
                <c:pt idx="3">
                  <c:v>0.24</c:v>
                </c:pt>
                <c:pt idx="4">
                  <c:v>0.1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8%</c:v>
                  </c:pt>
                  <c:pt idx="1">
                    <c:v>91%</c:v>
                  </c:pt>
                  <c:pt idx="2">
                    <c:v>86%</c:v>
                  </c:pt>
                  <c:pt idx="3">
                    <c:v>76%</c:v>
                  </c:pt>
                  <c:pt idx="4">
                    <c:v>82%</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UMBER AND NORTH YORKSHIRE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UMBER AND NORTH YORKSHIRE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UMBER AND NORTH YORKSHIRE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UMBER AND NORTH YORKSHIRE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UMBER AND NORTH YORKSHIRE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HUMBER AND NORTH YORKSHIRE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100073633"/>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confidence in managing their diabetes day-to-day
Healthcare professionals providing information about the potential complications of living with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838404772"/>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816740910"/>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in taking part in physical activit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96530455"/>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HUMBER AND NORTH YORK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39315821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07520017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0% of respondents who were marked as Type 1 in the sample selected ‘Type 1’, 8% selected ‘Type 2’, 1% selected ‘Other’ and 1% selected ‘I don’t know’ ​</a:t>
            </a:r>
          </a:p>
          <a:p>
            <a:pPr marL="171450" indent="-171450">
              <a:buFont typeface="Arial" panose="020B0604020202020204" pitchFamily="34" charset="0"/>
              <a:buChar char="•"/>
              <a:defRPr/>
            </a:pPr>
            <a:r>
              <a:rPr lang="en-GB" sz="1200" dirty="0">
                <a:solidFill>
                  <a:schemeClr val="tx1"/>
                </a:solidFill>
                <a:effectLst/>
              </a:rPr>
              <a:t>91% of respondents who were marked as Type 2 in the sample selected ‘Type 2’, 3% selected ‘Type 1’, 2% selected ‘Other’ and 4%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49); Type 2, ICS (588)).</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653205249"/>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815471571"/>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925295851"/>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3874112597"/>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268671558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94); Type 2, National (19,941), ICS (482))</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280282956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271039380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93); Type 2, National (22,278), ICS (523))</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37186924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287968009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59); Type 2, National (21,082), ICS (516))</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240099913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262868744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49); Type 2, National (24,180), ICS (583))</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421358924"/>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608122782"/>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624432460"/>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1323775499"/>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363045544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29); Type 2, National (22,482), ICS (552))</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81595215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47132608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217025021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171089353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351193559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56031290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391342422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182703235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345295195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31); Type 2, National (22,670), ICS (552))</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91158787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351845510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427153977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19175898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351097270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346816740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405067986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253606076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234505825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44); Type 2, National (24,076), ICS (582))</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92893140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306746881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132054335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164039321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134762106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241729346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217206717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67691814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47); Type 2, National (24,153), ICS (579))</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188552606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68532442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312992751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366754358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191354120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283976044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324823825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85939725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287999545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47); Type 2, National (24,135), ICS (578))</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164577706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255621853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59955733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302251673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351782726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83415171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115273938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336492900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410705249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42); Type 2, National (24,084), ICS (581))</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304780771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234513604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269184561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64898459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102178603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294054405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144244494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377267287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71005496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46); Type 2, National (24,070), ICS (580))</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274982463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2683303517"/>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144622410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3178839230"/>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024034408"/>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246198626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2111512227"/>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143815202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171583584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47); Type 2, National (24,260), ICS (587))</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328794827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391147741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233156368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76416041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40517029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246576197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357977928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327763553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284631975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47); Type 2, National (24,267), ICS (586))</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205334386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12200099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296527008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428053525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12865366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146846131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356701004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72316335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225103345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46); Type 2, National (24,196), ICS (590))</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34405512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90663300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236315823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48); Type 2, National (24,019), ICS (582))</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368082348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143705351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16); Type 2, National (11,860), ICS (292))</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302704270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283736363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430); Type 2, National (21,228), ICS (493))</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37926505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85387361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418); Type 2, National (20,915), ICS (513))</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211008782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184991688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403); Type 2, National (20,086), ICS (476))</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210570617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53350887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416); Type 2, National (21,890), ICS (528))</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407731948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155753496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90); Type 2, National (18,585), ICS (437))</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27878597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25562309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424615525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41991928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44746978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7701777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121745449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310618494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29); Type 2, National (22,580), ICS (553))</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349849736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749518394"/>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1098897615"/>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2287909744"/>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136265950"/>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91423756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94); Type 2, National (12,350), ICS (288))</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112709072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3928617079"/>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78086959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380802164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310155090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240322234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397249534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390992586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425); Type 2, National (10,911), ICS (22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146515598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646901572"/>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381162660"/>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4292487329"/>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618281130"/>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4094545349"/>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303435208"/>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28))</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946074806"/>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309309451"/>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3224851673"/>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83573949"/>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549313879"/>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801151914"/>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45))</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HUMBER AND NORTH YORKSHIRE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419</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039</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3%</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49</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90</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977</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442</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2226684888"/>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240621369"/>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3064155223"/>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076949038"/>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2223998364"/>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1219325401"/>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2068223966"/>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HUMBER AND NORTH YORK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951293481"/>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weight and BMI check as part of their last annual review
Having a blood pressure check as part of their last annual review</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894410707"/>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701116478"/>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
Healthcare professionals providing support in taking part in physical activity
Healthcare professionals providing support with eating well</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17734898"/>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0</TotalTime>
  <Words>5304</Words>
  <Application>Microsoft Office PowerPoint</Application>
  <PresentationFormat>Widescreen</PresentationFormat>
  <Paragraphs>807</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ody)</vt:lpstr>
      <vt:lpstr>Wingdings</vt:lpstr>
      <vt:lpstr>Arial Black</vt:lpstr>
      <vt:lpstr>Arial</vt:lpstr>
      <vt:lpstr>Barlow</vt:lpstr>
      <vt:lpstr>HelveticaNeueLT Std Lt Cn</vt:lpstr>
      <vt:lpstr>Wingdings 3</vt:lpstr>
      <vt:lpstr>Segoe UI</vt:lpstr>
      <vt:lpstr>Roboto</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Katherine Fisher</cp:lastModifiedBy>
  <cp:revision>174</cp:revision>
  <cp:lastPrinted>2024-09-17T13:37:47Z</cp:lastPrinted>
  <dcterms:created xsi:type="dcterms:W3CDTF">2024-06-17T14:42:21Z</dcterms:created>
  <dcterms:modified xsi:type="dcterms:W3CDTF">2024-12-04T10:4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